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2"/>
    <p:sldId id="260" r:id="rId3"/>
    <p:sldId id="286" r:id="rId4"/>
    <p:sldId id="308" r:id="rId5"/>
    <p:sldId id="290" r:id="rId6"/>
    <p:sldId id="291" r:id="rId7"/>
    <p:sldId id="292" r:id="rId8"/>
    <p:sldId id="293" r:id="rId9"/>
    <p:sldId id="294" r:id="rId10"/>
    <p:sldId id="300" r:id="rId11"/>
    <p:sldId id="301" r:id="rId12"/>
    <p:sldId id="297" r:id="rId13"/>
    <p:sldId id="299" r:id="rId14"/>
    <p:sldId id="311" r:id="rId15"/>
    <p:sldId id="296" r:id="rId16"/>
    <p:sldId id="295" r:id="rId17"/>
    <p:sldId id="303" r:id="rId18"/>
    <p:sldId id="305" r:id="rId19"/>
    <p:sldId id="318" r:id="rId20"/>
    <p:sldId id="307" r:id="rId21"/>
    <p:sldId id="317" r:id="rId22"/>
    <p:sldId id="315" r:id="rId23"/>
    <p:sldId id="316" r:id="rId24"/>
    <p:sldId id="319" r:id="rId25"/>
    <p:sldId id="320" r:id="rId26"/>
    <p:sldId id="314" r:id="rId27"/>
    <p:sldId id="312" r:id="rId28"/>
    <p:sldId id="321" r:id="rId29"/>
  </p:sldIdLst>
  <p:sldSz cx="12192000" cy="6858000"/>
  <p:notesSz cx="9309100" cy="70231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6B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96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30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33943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3003" y="0"/>
            <a:ext cx="4033943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C6F3272-2B3D-44DA-B3AB-F9F2A14025A7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70726"/>
            <a:ext cx="4033943" cy="35237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3003" y="6670726"/>
            <a:ext cx="4033943" cy="35237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CE0F23C-12F3-4723-B30F-1036468A71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367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33943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3" y="0"/>
            <a:ext cx="4033943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0F375DC-0F9A-4EE5-A2D6-04DD5FC625E0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0" y="3379866"/>
            <a:ext cx="7447280" cy="2765346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70726"/>
            <a:ext cx="4033943" cy="35237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3" y="6670726"/>
            <a:ext cx="4033943" cy="35237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763B63EB-A80D-4ECD-AE18-6167062D2C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766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76415" y="1122363"/>
            <a:ext cx="5551727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  <a:latin typeface="Helvetica Neue" panose="020004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76415" y="3602038"/>
            <a:ext cx="5551727" cy="13509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Helvetica Neue" panose="0200040300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5620347" y="6442372"/>
            <a:ext cx="2463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  <p:pic>
        <p:nvPicPr>
          <p:cNvPr id="11" name="Picture 10" descr="GBF-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0610" y="6358051"/>
            <a:ext cx="3984715" cy="45272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25" y="-4762"/>
            <a:ext cx="6153150" cy="685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631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BF-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52681" y="6416229"/>
            <a:ext cx="3472644" cy="39454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/>
          <a:srcRect l="6388"/>
          <a:stretch/>
        </p:blipFill>
        <p:spPr>
          <a:xfrm>
            <a:off x="9525" y="4762"/>
            <a:ext cx="6419850" cy="684847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6519290" y="1122363"/>
            <a:ext cx="5551727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  <a:latin typeface="Helvetica Neue" panose="020004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519290" y="3602038"/>
            <a:ext cx="5551727" cy="13509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Helvetica Neue" panose="0200040300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772747" y="6442372"/>
            <a:ext cx="2463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431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BF-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0610" y="6358051"/>
            <a:ext cx="3984715" cy="4527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25" y="4762"/>
            <a:ext cx="6477000" cy="684847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6547865" y="1122363"/>
            <a:ext cx="5551727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  <a:latin typeface="Helvetica Neue" panose="020004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6547865" y="3602038"/>
            <a:ext cx="5551727" cy="13509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Helvetica Neue" panose="0200040300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620347" y="6442372"/>
            <a:ext cx="2463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8612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28741" y="1122363"/>
            <a:ext cx="5794686" cy="2387600"/>
          </a:xfrm>
        </p:spPr>
        <p:txBody>
          <a:bodyPr anchor="b"/>
          <a:lstStyle>
            <a:lvl1pPr algn="ctr">
              <a:defRPr sz="6000">
                <a:latin typeface="Helvetica Neue" panose="0200040300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28741" y="3602038"/>
            <a:ext cx="5794686" cy="1655762"/>
          </a:xfrm>
        </p:spPr>
        <p:txBody>
          <a:bodyPr/>
          <a:lstStyle>
            <a:lvl1pPr marL="0" indent="0" algn="ctr">
              <a:buNone/>
              <a:defRPr sz="2400">
                <a:latin typeface="Helvetica Neue" panose="0200040300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553547" y="6442372"/>
            <a:ext cx="2463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  <p:pic>
        <p:nvPicPr>
          <p:cNvPr id="7" name="Picture 2" descr="C:\Users\gardntim\Dropbox\Marketing Advancement\GatesBiomanufactoringFacility-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822" y="6259477"/>
            <a:ext cx="2887040" cy="4906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338772" y="492610"/>
            <a:ext cx="3480363" cy="558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72150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nip and Round Single Corner Rectangle 16"/>
          <p:cNvSpPr/>
          <p:nvPr userDrawn="1"/>
        </p:nvSpPr>
        <p:spPr>
          <a:xfrm rot="10800000">
            <a:off x="-2" y="-3"/>
            <a:ext cx="12192001" cy="1491051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nip and Round Single Corner Rectangle 17"/>
          <p:cNvSpPr/>
          <p:nvPr userDrawn="1"/>
        </p:nvSpPr>
        <p:spPr>
          <a:xfrm rot="10800000">
            <a:off x="-4" y="-2643"/>
            <a:ext cx="12192001" cy="1402627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18725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961A90A-74B5-4901-88FD-5116222579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="1">
                <a:latin typeface="Helvetica Neue" panose="0200040300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22235"/>
            <a:ext cx="10515600" cy="4554728"/>
          </a:xfrm>
        </p:spPr>
        <p:txBody>
          <a:bodyPr/>
          <a:lstStyle>
            <a:lvl1pPr>
              <a:defRPr>
                <a:latin typeface="Helvetica Neue" panose="02000403000000020004" pitchFamily="50" charset="0"/>
              </a:defRPr>
            </a:lvl1pPr>
            <a:lvl2pPr>
              <a:defRPr>
                <a:latin typeface="Helvetica Neue" panose="02000403000000020004" pitchFamily="50" charset="0"/>
              </a:defRPr>
            </a:lvl2pPr>
            <a:lvl3pPr>
              <a:defRPr>
                <a:latin typeface="Helvetica Neue" panose="02000403000000020004" pitchFamily="50" charset="0"/>
              </a:defRPr>
            </a:lvl3pPr>
            <a:lvl4pPr>
              <a:defRPr>
                <a:latin typeface="Helvetica Neue" panose="02000403000000020004" pitchFamily="50" charset="0"/>
              </a:defRPr>
            </a:lvl4pPr>
            <a:lvl5pPr>
              <a:defRPr>
                <a:latin typeface="Helvetica Neue" panose="0200040300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2" descr="C:\Users\gardntim\Dropbox\Marketing Advancement\GatesBiomanufactoringFacility-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0" y="6321232"/>
            <a:ext cx="2887040" cy="4906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864443" y="6413698"/>
            <a:ext cx="2463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23989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18725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961A90A-74B5-4901-88FD-5116222579F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2" descr="C:\Users\gardntim\Dropbox\Marketing Advancement\GatesBiomanufactoringFacility-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0" y="6321232"/>
            <a:ext cx="2887040" cy="4906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864443" y="6413698"/>
            <a:ext cx="2463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913287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93403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3118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8335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2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6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27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2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04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376414" y="1565709"/>
            <a:ext cx="5551727" cy="2387600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+mj-lt"/>
              </a:rPr>
              <a:t>GBF Conference Room Scheduling 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6376415" y="4211638"/>
            <a:ext cx="5551727" cy="769937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+mj-lt"/>
              </a:rPr>
              <a:t>Training – Jan 2020</a:t>
            </a:r>
          </a:p>
        </p:txBody>
      </p:sp>
    </p:spTree>
    <p:extLst>
      <p:ext uri="{BB962C8B-B14F-4D97-AF65-F5344CB8AC3E}">
        <p14:creationId xmlns:p14="http://schemas.microsoft.com/office/powerpoint/2010/main" val="3277473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972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8: Highlight available time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220206" y="1683972"/>
            <a:ext cx="8133594" cy="45545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7922" y="1622425"/>
            <a:ext cx="28311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/>
              <a:t>Find available time</a:t>
            </a:r>
          </a:p>
          <a:p>
            <a:pPr marL="342900" indent="-342900">
              <a:buAutoNum type="arabicPeriod"/>
            </a:pPr>
            <a:r>
              <a:rPr lang="en-US" sz="1600" dirty="0"/>
              <a:t>Press “Appointment” to ensure all information and conference room is included</a:t>
            </a:r>
          </a:p>
          <a:p>
            <a:pPr marL="342900" indent="-342900">
              <a:buAutoNum type="arabicPeriod"/>
            </a:pPr>
            <a:endParaRPr lang="en-US" sz="1600" dirty="0"/>
          </a:p>
        </p:txBody>
      </p:sp>
      <p:sp>
        <p:nvSpPr>
          <p:cNvPr id="7" name="Right Arrow 6"/>
          <p:cNvSpPr/>
          <p:nvPr/>
        </p:nvSpPr>
        <p:spPr>
          <a:xfrm flipV="1">
            <a:off x="8372475" y="5134296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 rot="10800000" flipV="1">
            <a:off x="4547821" y="1828388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7900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37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9: Verify meeting information and schedule meeting with Room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681654" y="1565610"/>
            <a:ext cx="8875881" cy="39999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4299" y="2071452"/>
            <a:ext cx="265527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nsure all information is complete and accurat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nvitees – meeting attendees + </a:t>
            </a:r>
            <a:r>
              <a:rPr lang="en-US" sz="1600" b="1" i="1" dirty="0"/>
              <a:t>conference roo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ub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ocation =&gt; </a:t>
            </a:r>
            <a:r>
              <a:rPr lang="en-US" sz="1600" b="1" i="1" dirty="0"/>
              <a:t>conference roo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tart day/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nd day/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Meeting agenda, notes,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r>
              <a:rPr lang="en-US" b="1" dirty="0"/>
              <a:t>PRESS Send</a:t>
            </a:r>
          </a:p>
        </p:txBody>
      </p:sp>
    </p:spTree>
    <p:extLst>
      <p:ext uri="{BB962C8B-B14F-4D97-AF65-F5344CB8AC3E}">
        <p14:creationId xmlns:p14="http://schemas.microsoft.com/office/powerpoint/2010/main" val="3458461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45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10: Verify meeting was scheduled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815496" y="1640009"/>
            <a:ext cx="8934931" cy="45545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49469" y="1640009"/>
            <a:ext cx="254976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Go to meeting on your calendar and click on the meeting</a:t>
            </a:r>
          </a:p>
          <a:p>
            <a:pPr marL="342900" indent="-342900">
              <a:buAutoNum type="arabicPeriod"/>
            </a:pPr>
            <a:r>
              <a:rPr lang="en-US" dirty="0"/>
              <a:t>Click on scheduling assistant</a:t>
            </a:r>
          </a:p>
          <a:p>
            <a:pPr marL="342900" indent="-342900">
              <a:buAutoNum type="arabicPeriod"/>
            </a:pPr>
            <a:r>
              <a:rPr lang="en-US" dirty="0"/>
              <a:t>Be care not to move the meeting within the scheduling bar.</a:t>
            </a:r>
          </a:p>
          <a:p>
            <a:pPr marL="342900" indent="-342900">
              <a:buAutoNum type="arabicPeriod"/>
            </a:pPr>
            <a:r>
              <a:rPr lang="en-US" dirty="0"/>
              <a:t>Simply “X” out of this scre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911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436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cheduling both conference room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382982" y="1582615"/>
            <a:ext cx="9251146" cy="500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12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73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cheduling both conference rooms</a:t>
            </a:r>
            <a:endParaRPr lang="en-US" dirty="0">
              <a:latin typeface="+mn-lt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728500" y="1622425"/>
            <a:ext cx="8735000" cy="4554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7205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01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Meeting changes </a:t>
            </a:r>
            <a:endParaRPr lang="en-US" dirty="0">
              <a:latin typeface="+mn-lt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269673" y="1557563"/>
            <a:ext cx="8636329" cy="508149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49382" y="1803508"/>
            <a:ext cx="284018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Tx/>
              <a:buAutoNum type="arabicPeriod"/>
            </a:pPr>
            <a:r>
              <a:rPr lang="en-US" dirty="0">
                <a:solidFill>
                  <a:prstClr val="black"/>
                </a:solidFill>
              </a:rPr>
              <a:t>Go to meeting on your calendar and click on the meeting</a:t>
            </a:r>
          </a:p>
          <a:p>
            <a:pPr marL="342900" lvl="0" indent="-342900">
              <a:buFontTx/>
              <a:buAutoNum type="arabicPeriod"/>
            </a:pPr>
            <a:r>
              <a:rPr lang="en-US" dirty="0">
                <a:solidFill>
                  <a:prstClr val="black"/>
                </a:solidFill>
              </a:rPr>
              <a:t>Click on scheduling assistant</a:t>
            </a:r>
          </a:p>
          <a:p>
            <a:pPr marL="342900" indent="-342900">
              <a:buAutoNum type="arabicPeriod"/>
            </a:pPr>
            <a:r>
              <a:rPr lang="en-US" dirty="0"/>
              <a:t>To change time or date…find available time and click “send”</a:t>
            </a:r>
          </a:p>
        </p:txBody>
      </p:sp>
    </p:spTree>
    <p:extLst>
      <p:ext uri="{BB962C8B-B14F-4D97-AF65-F5344CB8AC3E}">
        <p14:creationId xmlns:p14="http://schemas.microsoft.com/office/powerpoint/2010/main" val="2737465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246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Please be aware…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700" y="1543104"/>
            <a:ext cx="10515600" cy="4554728"/>
          </a:xfrm>
        </p:spPr>
        <p:txBody>
          <a:bodyPr/>
          <a:lstStyle/>
          <a:p>
            <a:r>
              <a:rPr lang="en-US" dirty="0">
                <a:latin typeface="+mn-lt"/>
              </a:rPr>
              <a:t>People can be overbooked </a:t>
            </a:r>
            <a:r>
              <a:rPr lang="en-US" b="1" i="1" dirty="0">
                <a:latin typeface="+mn-lt"/>
              </a:rPr>
              <a:t>but Conference rooms cannot be double booked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75709" y="2142013"/>
            <a:ext cx="7906950" cy="451566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5846" y="2505808"/>
            <a:ext cx="269950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will allow this meeting to be scheduled BU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e conference room will not be scheduled despite what your calendar states…see next slide</a:t>
            </a:r>
          </a:p>
        </p:txBody>
      </p:sp>
      <p:sp>
        <p:nvSpPr>
          <p:cNvPr id="8" name="Right Arrow 7"/>
          <p:cNvSpPr/>
          <p:nvPr/>
        </p:nvSpPr>
        <p:spPr>
          <a:xfrm rot="16200000" flipV="1">
            <a:off x="4865371" y="3877402"/>
            <a:ext cx="467957" cy="1586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7411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8086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cheduling over another meeting in a conference room…..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775697" y="1608992"/>
            <a:ext cx="8720124" cy="448884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49469" y="1696915"/>
            <a:ext cx="254097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ks like it is scheduled in Large conference Room….</a:t>
            </a:r>
            <a:r>
              <a:rPr lang="en-US" b="1" dirty="0"/>
              <a:t>but it is no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ST be aware of email messages!!</a:t>
            </a:r>
          </a:p>
        </p:txBody>
      </p:sp>
      <p:sp>
        <p:nvSpPr>
          <p:cNvPr id="8" name="Right Arrow 7"/>
          <p:cNvSpPr/>
          <p:nvPr/>
        </p:nvSpPr>
        <p:spPr>
          <a:xfrm flipV="1">
            <a:off x="2622305" y="3968410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176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182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Conference room was </a:t>
            </a:r>
            <a:r>
              <a:rPr lang="en-US" u="sng" dirty="0">
                <a:latin typeface="+mn-lt"/>
              </a:rPr>
              <a:t>not </a:t>
            </a:r>
            <a:r>
              <a:rPr lang="en-US" dirty="0">
                <a:latin typeface="+mn-lt"/>
              </a:rPr>
              <a:t>scheduled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310320" y="1758836"/>
            <a:ext cx="10404230" cy="372603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 flipV="1">
            <a:off x="385396" y="3374915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/>
          <p:cNvSpPr/>
          <p:nvPr/>
        </p:nvSpPr>
        <p:spPr>
          <a:xfrm rot="10800000" flipV="1">
            <a:off x="7271039" y="3621852"/>
            <a:ext cx="2593398" cy="57607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76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274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>
                <a:latin typeface="+mn-lt"/>
              </a:rPr>
              <a:t>Caution:  </a:t>
            </a:r>
            <a:r>
              <a:rPr lang="en-US" dirty="0">
                <a:latin typeface="+mn-lt"/>
              </a:rPr>
              <a:t>Conference room invite declined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006436" y="1594714"/>
            <a:ext cx="8589819" cy="507546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52400" y="1814945"/>
            <a:ext cx="2618509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However, </a:t>
            </a:r>
            <a:r>
              <a:rPr lang="en-US" sz="2000" dirty="0"/>
              <a:t>this may not be obvious when reviewed on the calendar….</a:t>
            </a:r>
          </a:p>
          <a:p>
            <a:r>
              <a:rPr lang="en-US" sz="2000" i="1" dirty="0"/>
              <a:t>Meeting Initiators </a:t>
            </a:r>
            <a:r>
              <a:rPr lang="en-US" sz="2000" b="1" i="1" dirty="0"/>
              <a:t>MUST</a:t>
            </a:r>
            <a:r>
              <a:rPr lang="en-US" sz="2000" i="1" dirty="0"/>
              <a:t> pay attention to email messages </a:t>
            </a:r>
          </a:p>
        </p:txBody>
      </p:sp>
    </p:spTree>
    <p:extLst>
      <p:ext uri="{BB962C8B-B14F-4D97-AF65-F5344CB8AC3E}">
        <p14:creationId xmlns:p14="http://schemas.microsoft.com/office/powerpoint/2010/main" val="3529832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0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Ag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3434" y="1589315"/>
            <a:ext cx="11665132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800" b="1" dirty="0">
                <a:solidFill>
                  <a:srgbClr val="EA6B14"/>
                </a:solidFill>
              </a:rPr>
              <a:t>What will this training cover?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2400" dirty="0"/>
              <a:t>How to schedule a GBF conference room (large and small </a:t>
            </a:r>
            <a:r>
              <a:rPr lang="en-US" sz="2400" dirty="0" err="1"/>
              <a:t>conf</a:t>
            </a:r>
            <a:r>
              <a:rPr lang="en-US" sz="2400" dirty="0"/>
              <a:t> rooms)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2400" dirty="0"/>
              <a:t>How do I change a meeting and/or conference room once scheduled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2400" dirty="0"/>
              <a:t>Recurring meetings and impact on conference rooms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2400" dirty="0"/>
              <a:t>What to do if a GBF conference room is not available</a:t>
            </a:r>
          </a:p>
          <a:p>
            <a:pPr marL="514350" indent="-514350">
              <a:buFont typeface="+mj-lt"/>
              <a:buAutoNum type="arabicPeriod"/>
            </a:pPr>
            <a:endParaRPr lang="en-US" sz="2800" b="1" dirty="0">
              <a:solidFill>
                <a:srgbClr val="EA6B14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b="1" dirty="0">
                <a:solidFill>
                  <a:srgbClr val="EA6B14"/>
                </a:solidFill>
              </a:rPr>
              <a:t>When can we start scheduling our own conference rooms?</a:t>
            </a:r>
          </a:p>
          <a:p>
            <a:pPr marL="514350" indent="-514350">
              <a:buFont typeface="+mj-lt"/>
              <a:buAutoNum type="arabicPeriod"/>
            </a:pPr>
            <a:endParaRPr lang="en-US" sz="2800" b="1" dirty="0">
              <a:solidFill>
                <a:srgbClr val="EA6B14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b="1" dirty="0">
                <a:solidFill>
                  <a:srgbClr val="EA6B14"/>
                </a:solidFill>
              </a:rPr>
              <a:t>Questions/ further help and Thank You</a:t>
            </a:r>
          </a:p>
          <a:p>
            <a:pPr marL="342900" indent="-342900">
              <a:buFont typeface="+mj-lt"/>
              <a:buAutoNum type="arabicPeriod" startAt="2"/>
            </a:pPr>
            <a:endParaRPr lang="en-US" sz="2800" b="1" dirty="0">
              <a:solidFill>
                <a:srgbClr val="EA6B14"/>
              </a:solidFill>
            </a:endParaRPr>
          </a:p>
          <a:p>
            <a:pPr lvl="1"/>
            <a:endParaRPr lang="en-US" sz="2000" b="1" dirty="0">
              <a:solidFill>
                <a:srgbClr val="EA6B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5769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464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Recurring Meet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latin typeface="+mn-lt"/>
              </a:rPr>
              <a:t>Please be aware of the following…..</a:t>
            </a:r>
          </a:p>
          <a:p>
            <a:r>
              <a:rPr lang="en-US" dirty="0">
                <a:latin typeface="+mn-lt"/>
              </a:rPr>
              <a:t>“Request was denied” emails for conference rooms for dates your meeting was not able to be booked in the conference room</a:t>
            </a:r>
          </a:p>
          <a:p>
            <a:r>
              <a:rPr lang="en-US" dirty="0">
                <a:latin typeface="+mn-lt"/>
              </a:rPr>
              <a:t>Currently, meetings are scheduled through February (Emily Feasel scheduled) – See next slide</a:t>
            </a:r>
          </a:p>
          <a:p>
            <a:r>
              <a:rPr lang="en-US" dirty="0">
                <a:latin typeface="+mn-lt"/>
              </a:rPr>
              <a:t>If you are the leader/owner of a recurring meeting, please go in now and set up your meetings to include your desired conference room to begin in March.  </a:t>
            </a:r>
          </a:p>
        </p:txBody>
      </p:sp>
    </p:spTree>
    <p:extLst>
      <p:ext uri="{BB962C8B-B14F-4D97-AF65-F5344CB8AC3E}">
        <p14:creationId xmlns:p14="http://schemas.microsoft.com/office/powerpoint/2010/main" val="938181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1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3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Recurring Meeting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75207353"/>
              </p:ext>
            </p:extLst>
          </p:nvPr>
        </p:nvGraphicFramePr>
        <p:xfrm>
          <a:off x="381002" y="1579421"/>
          <a:ext cx="10972798" cy="4510642"/>
        </p:xfrm>
        <a:graphic>
          <a:graphicData uri="http://schemas.openxmlformats.org/drawingml/2006/table">
            <a:tbl>
              <a:tblPr/>
              <a:tblGrid>
                <a:gridCol w="2423819">
                  <a:extLst>
                    <a:ext uri="{9D8B030D-6E8A-4147-A177-3AD203B41FA5}">
                      <a16:colId xmlns:a16="http://schemas.microsoft.com/office/drawing/2014/main" val="644051209"/>
                    </a:ext>
                  </a:extLst>
                </a:gridCol>
                <a:gridCol w="2118912">
                  <a:extLst>
                    <a:ext uri="{9D8B030D-6E8A-4147-A177-3AD203B41FA5}">
                      <a16:colId xmlns:a16="http://schemas.microsoft.com/office/drawing/2014/main" val="882963585"/>
                    </a:ext>
                  </a:extLst>
                </a:gridCol>
                <a:gridCol w="2423819">
                  <a:extLst>
                    <a:ext uri="{9D8B030D-6E8A-4147-A177-3AD203B41FA5}">
                      <a16:colId xmlns:a16="http://schemas.microsoft.com/office/drawing/2014/main" val="3272779279"/>
                    </a:ext>
                  </a:extLst>
                </a:gridCol>
                <a:gridCol w="2443117">
                  <a:extLst>
                    <a:ext uri="{9D8B030D-6E8A-4147-A177-3AD203B41FA5}">
                      <a16:colId xmlns:a16="http://schemas.microsoft.com/office/drawing/2014/main" val="3428304471"/>
                    </a:ext>
                  </a:extLst>
                </a:gridCol>
                <a:gridCol w="1563131">
                  <a:extLst>
                    <a:ext uri="{9D8B030D-6E8A-4147-A177-3AD203B41FA5}">
                      <a16:colId xmlns:a16="http://schemas.microsoft.com/office/drawing/2014/main" val="4010981009"/>
                    </a:ext>
                  </a:extLst>
                </a:gridCol>
              </a:tblGrid>
              <a:tr h="2332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y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004091"/>
                  </a:ext>
                </a:extLst>
              </a:tr>
              <a:tr h="30707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l Therap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30-10:00 (9:00-10:00 on Friday's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ry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chel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8473550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tein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0-11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e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854339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n Client Meeting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00-3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rd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108218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tein Deviation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-12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esday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a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421007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C/QA/Materials Deviation Mt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?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00 -3:00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nes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a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094969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ty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00-4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-Weekly: Mon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is 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764853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C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00-4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nes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is F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1701056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nauzer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-12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urs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j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084047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ors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00-3: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urs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ors - Rota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451340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ecast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30-4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urs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nis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8557831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n Client (Internal) Meeting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0-11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rd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108675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 Deviation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0-12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a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7267735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fety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00-2: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 (2nd Friday of the month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is F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1931362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C On Point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0-11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day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is F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119501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P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00-3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d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i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113701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A Mee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onference Ro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0-11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esday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dres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6963133"/>
                  </a:ext>
                </a:extLst>
              </a:tr>
              <a:tr h="2400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ge Control - 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?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0-11: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nesday (every other week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chel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567369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491345" y="6192982"/>
            <a:ext cx="346364" cy="2647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837709" y="6149929"/>
            <a:ext cx="30372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Not scheduled through Feb at this time</a:t>
            </a:r>
          </a:p>
        </p:txBody>
      </p:sp>
    </p:spTree>
    <p:extLst>
      <p:ext uri="{BB962C8B-B14F-4D97-AF65-F5344CB8AC3E}">
        <p14:creationId xmlns:p14="http://schemas.microsoft.com/office/powerpoint/2010/main" val="6780008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556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246" y="122389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+mn-lt"/>
              </a:rPr>
              <a:t>What if I cannot find an available GBF Conference Room or one that will work for my meeting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Contact Admin Assistance </a:t>
            </a:r>
          </a:p>
          <a:p>
            <a:pPr lvl="1"/>
            <a:r>
              <a:rPr lang="en-US" dirty="0">
                <a:latin typeface="+mn-lt"/>
              </a:rPr>
              <a:t>(Hannah through Jan. 17 and then Kate Swisher)</a:t>
            </a:r>
          </a:p>
          <a:p>
            <a:pPr lvl="1"/>
            <a:r>
              <a:rPr lang="en-US" dirty="0">
                <a:latin typeface="+mn-lt"/>
              </a:rPr>
              <a:t>They will try to find a room within BS1 or BS2</a:t>
            </a:r>
          </a:p>
          <a:p>
            <a:r>
              <a:rPr lang="en-US" dirty="0">
                <a:latin typeface="+mn-lt"/>
              </a:rPr>
              <a:t>Contact Anschutz Campus Library</a:t>
            </a:r>
          </a:p>
          <a:p>
            <a:r>
              <a:rPr lang="en-US" dirty="0">
                <a:latin typeface="+mn-lt"/>
              </a:rPr>
              <a:t>General areas in FRA </a:t>
            </a:r>
          </a:p>
          <a:p>
            <a:r>
              <a:rPr lang="en-US" dirty="0">
                <a:latin typeface="+mn-lt"/>
              </a:rPr>
              <a:t>Other ideas or options ????? </a:t>
            </a:r>
          </a:p>
        </p:txBody>
      </p:sp>
    </p:spTree>
    <p:extLst>
      <p:ext uri="{BB962C8B-B14F-4D97-AF65-F5344CB8AC3E}">
        <p14:creationId xmlns:p14="http://schemas.microsoft.com/office/powerpoint/2010/main" val="6935521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482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To the conference room schedule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149805" y="1622424"/>
            <a:ext cx="9042195" cy="4554538"/>
          </a:xfrm>
          <a:prstGeom prst="rect">
            <a:avLst/>
          </a:prstGeom>
        </p:spPr>
      </p:pic>
      <p:sp>
        <p:nvSpPr>
          <p:cNvPr id="6" name="Down Arrow 5"/>
          <p:cNvSpPr/>
          <p:nvPr/>
        </p:nvSpPr>
        <p:spPr>
          <a:xfrm>
            <a:off x="6206836" y="1346917"/>
            <a:ext cx="304800" cy="5403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66255" y="1939636"/>
            <a:ext cx="242454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en Calend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ck on Room 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e in “GBF” and e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6369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74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To the conference room schedule…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715852" y="1640249"/>
            <a:ext cx="8088221" cy="52177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04800" y="1870364"/>
            <a:ext cx="29648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 GBF Large and GBF Small Conference room by highlighting and pressing “Rooms” button</a:t>
            </a:r>
          </a:p>
        </p:txBody>
      </p:sp>
      <p:sp>
        <p:nvSpPr>
          <p:cNvPr id="9" name="Right Arrow 8"/>
          <p:cNvSpPr/>
          <p:nvPr/>
        </p:nvSpPr>
        <p:spPr>
          <a:xfrm>
            <a:off x="5098472" y="5905063"/>
            <a:ext cx="831272" cy="30480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013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380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You will now be able to see the calendar for the conference rooms….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386311" y="1622425"/>
            <a:ext cx="7419377" cy="4554538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1330036" y="5805055"/>
            <a:ext cx="803564" cy="33250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/>
          <p:cNvSpPr/>
          <p:nvPr/>
        </p:nvSpPr>
        <p:spPr>
          <a:xfrm>
            <a:off x="6608618" y="2427572"/>
            <a:ext cx="304800" cy="5403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own Arrow 8"/>
          <p:cNvSpPr/>
          <p:nvPr/>
        </p:nvSpPr>
        <p:spPr>
          <a:xfrm>
            <a:off x="8756073" y="2415735"/>
            <a:ext cx="304800" cy="5403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369624" y="2607032"/>
            <a:ext cx="176397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The conference rooms should show up on the left side of your calendar and when “checked” you can see the conference room calendars </a:t>
            </a:r>
          </a:p>
        </p:txBody>
      </p:sp>
    </p:spTree>
    <p:extLst>
      <p:ext uri="{BB962C8B-B14F-4D97-AF65-F5344CB8AC3E}">
        <p14:creationId xmlns:p14="http://schemas.microsoft.com/office/powerpoint/2010/main" val="155920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5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hen can we start scheduling GBF Conference Rooms?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5669" y="1525519"/>
            <a:ext cx="10515600" cy="4554728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FF0000"/>
                </a:solidFill>
                <a:latin typeface="+mn-lt"/>
              </a:rPr>
              <a:t>Today  </a:t>
            </a:r>
            <a:r>
              <a:rPr lang="en-US" sz="3600" b="1" dirty="0">
                <a:solidFill>
                  <a:srgbClr val="FF0000"/>
                </a:solidFill>
                <a:latin typeface="+mn-lt"/>
                <a:sym typeface="Wingdings" panose="05000000000000000000" pitchFamily="2" charset="2"/>
              </a:rPr>
              <a:t> !</a:t>
            </a:r>
            <a:endParaRPr lang="en-US" sz="3600" b="1" dirty="0">
              <a:solidFill>
                <a:srgbClr val="FF0000"/>
              </a:solidFill>
              <a:latin typeface="+mn-lt"/>
            </a:endParaRPr>
          </a:p>
          <a:p>
            <a:pPr marL="457200" lvl="1" indent="0">
              <a:buNone/>
            </a:pPr>
            <a:r>
              <a:rPr lang="en-US" dirty="0">
                <a:latin typeface="+mn-lt"/>
              </a:rPr>
              <a:t>HOWEVER please note:</a:t>
            </a:r>
          </a:p>
          <a:p>
            <a:pPr lvl="2"/>
            <a:r>
              <a:rPr lang="en-US" sz="2400" dirty="0">
                <a:latin typeface="+mn-lt"/>
              </a:rPr>
              <a:t>Recurring meetings have been scheduled through February (by Emily)</a:t>
            </a:r>
          </a:p>
          <a:p>
            <a:pPr lvl="2"/>
            <a:r>
              <a:rPr lang="en-US" sz="2400" dirty="0">
                <a:latin typeface="+mn-lt"/>
              </a:rPr>
              <a:t>Double check your conference rooms before and after scheduling</a:t>
            </a:r>
          </a:p>
          <a:p>
            <a:pPr lvl="2"/>
            <a:r>
              <a:rPr lang="en-US" sz="2400" dirty="0">
                <a:latin typeface="+mn-lt"/>
              </a:rPr>
              <a:t>Pay attention to the “Request was Denied” emails. </a:t>
            </a:r>
          </a:p>
          <a:p>
            <a:pPr lvl="2"/>
            <a:r>
              <a:rPr lang="en-US" sz="2400" dirty="0">
                <a:latin typeface="+mn-lt"/>
              </a:rPr>
              <a:t>Please be patient with each other while we all get the hang of this</a:t>
            </a:r>
          </a:p>
          <a:p>
            <a:pPr lvl="2"/>
            <a:r>
              <a:rPr lang="en-US" sz="2400" dirty="0">
                <a:latin typeface="+mn-lt"/>
              </a:rPr>
              <a:t>Please work together to resolve any conflicts that may arise</a:t>
            </a:r>
          </a:p>
          <a:p>
            <a:pPr lvl="2"/>
            <a:r>
              <a:rPr lang="en-US" sz="2400" i="1" dirty="0">
                <a:latin typeface="+mn-lt"/>
              </a:rPr>
              <a:t>If there are too many issues, we will need to go back to the old way of scheduling conference rooms through the Administrative Group. </a:t>
            </a:r>
          </a:p>
        </p:txBody>
      </p:sp>
    </p:spTree>
    <p:extLst>
      <p:ext uri="{BB962C8B-B14F-4D97-AF65-F5344CB8AC3E}">
        <p14:creationId xmlns:p14="http://schemas.microsoft.com/office/powerpoint/2010/main" val="2887010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78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Questions and further hel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Please see Hannah or Terri if you have any questions or want additional help</a:t>
            </a: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4076" y="3841768"/>
            <a:ext cx="11274669" cy="2334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prstClr val="black"/>
                </a:solidFill>
              </a:rPr>
              <a:t>Special “Thank You” and shout out for helping us implement this….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EA6B14"/>
                </a:solidFill>
              </a:rPr>
              <a:t>Zach Spears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EA6B14"/>
                </a:solidFill>
              </a:rPr>
              <a:t>Hannah Miller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EA6B14"/>
                </a:solidFill>
              </a:rPr>
              <a:t>Emily Feasel </a:t>
            </a:r>
          </a:p>
        </p:txBody>
      </p:sp>
    </p:spTree>
    <p:extLst>
      <p:ext uri="{BB962C8B-B14F-4D97-AF65-F5344CB8AC3E}">
        <p14:creationId xmlns:p14="http://schemas.microsoft.com/office/powerpoint/2010/main" val="2683644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8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1948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323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1: Set up attendees for meeting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48464" y="1551843"/>
            <a:ext cx="9308621" cy="4900612"/>
          </a:xfrm>
          <a:prstGeom prst="rect">
            <a:avLst/>
          </a:prstGeom>
        </p:spPr>
      </p:pic>
      <p:sp>
        <p:nvSpPr>
          <p:cNvPr id="9" name="Right Arrow 8"/>
          <p:cNvSpPr/>
          <p:nvPr/>
        </p:nvSpPr>
        <p:spPr>
          <a:xfrm rot="10800000">
            <a:off x="2584938" y="1960685"/>
            <a:ext cx="905608" cy="32531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49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29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2: Fill out appointment info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086114" y="1631219"/>
            <a:ext cx="7843926" cy="4554538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 rot="10800000">
            <a:off x="3455377" y="1855178"/>
            <a:ext cx="905608" cy="32531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49469" y="1758462"/>
            <a:ext cx="182000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Fill out meeting subjec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ave location blan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opose estimated day and time</a:t>
            </a:r>
          </a:p>
        </p:txBody>
      </p:sp>
      <p:sp>
        <p:nvSpPr>
          <p:cNvPr id="9" name="Right Arrow 8"/>
          <p:cNvSpPr/>
          <p:nvPr/>
        </p:nvSpPr>
        <p:spPr>
          <a:xfrm rot="10800000">
            <a:off x="4193931" y="2971799"/>
            <a:ext cx="589084" cy="14946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 rot="10800000">
            <a:off x="4193931" y="3178023"/>
            <a:ext cx="589084" cy="14946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 rot="16200000">
            <a:off x="3160835" y="3974509"/>
            <a:ext cx="589084" cy="14946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 rot="16200000">
            <a:off x="4268665" y="3974509"/>
            <a:ext cx="589084" cy="14946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917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65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3: Move to adding conference roo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169" y="1622235"/>
            <a:ext cx="2265485" cy="455472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1800" dirty="0">
                <a:latin typeface="+mn-lt"/>
              </a:rPr>
              <a:t>Click on “Scheduling Assistant”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800" dirty="0">
                <a:latin typeface="+mn-lt"/>
              </a:rPr>
              <a:t>Click “Add Rooms…”</a:t>
            </a:r>
          </a:p>
          <a:p>
            <a:pPr marL="514350" indent="-514350">
              <a:buFont typeface="+mj-lt"/>
              <a:buAutoNum type="arabicPeriod"/>
            </a:pPr>
            <a:endParaRPr lang="en-US" sz="1800" dirty="0"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7741" y="1718950"/>
            <a:ext cx="8638685" cy="5011927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 rot="10800000">
            <a:off x="4747846" y="2092569"/>
            <a:ext cx="905608" cy="32531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 rot="10800000">
            <a:off x="3842238" y="6405562"/>
            <a:ext cx="905608" cy="32531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485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774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4:  Conference rooms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444679" y="1666386"/>
            <a:ext cx="6909121" cy="455453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75846" y="1798271"/>
            <a:ext cx="3472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This screen will appear……</a:t>
            </a:r>
          </a:p>
        </p:txBody>
      </p:sp>
    </p:spTree>
    <p:extLst>
      <p:ext uri="{BB962C8B-B14F-4D97-AF65-F5344CB8AC3E}">
        <p14:creationId xmlns:p14="http://schemas.microsoft.com/office/powerpoint/2010/main" val="3183669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61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5: Locate GBF conference room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596031" y="1692368"/>
            <a:ext cx="7369215" cy="45545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6715" y="1622425"/>
            <a:ext cx="222445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Type in “GBF”</a:t>
            </a:r>
          </a:p>
          <a:p>
            <a:pPr marL="342900" indent="-342900">
              <a:buAutoNum type="arabicPeriod"/>
            </a:pPr>
            <a:r>
              <a:rPr lang="en-US" dirty="0"/>
              <a:t>The two GBF conference rooms will be visible</a:t>
            </a:r>
          </a:p>
          <a:p>
            <a:pPr marL="342900" indent="-342900">
              <a:buAutoNum type="arabicPeriod"/>
            </a:pPr>
            <a:r>
              <a:rPr lang="en-US" dirty="0"/>
              <a:t>Click on the conference room to highlight </a:t>
            </a:r>
          </a:p>
          <a:p>
            <a:pPr marL="342900" indent="-342900">
              <a:buAutoNum type="arabicPeriod"/>
            </a:pPr>
            <a:r>
              <a:rPr lang="en-US" dirty="0"/>
              <a:t>Click on “rooms” to add for preview of availability</a:t>
            </a:r>
          </a:p>
        </p:txBody>
      </p:sp>
      <p:sp>
        <p:nvSpPr>
          <p:cNvPr id="7" name="Right Arrow 6"/>
          <p:cNvSpPr/>
          <p:nvPr/>
        </p:nvSpPr>
        <p:spPr>
          <a:xfrm>
            <a:off x="4108206" y="2567354"/>
            <a:ext cx="423497" cy="175846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 flipV="1">
            <a:off x="3971926" y="4656239"/>
            <a:ext cx="559777" cy="15826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 flipV="1">
            <a:off x="4140444" y="4766854"/>
            <a:ext cx="359020" cy="11798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 flipV="1">
            <a:off x="3835644" y="5318934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186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34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6:  Add GBF conference room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279659" y="1622425"/>
            <a:ext cx="7632681" cy="45545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5846" y="1688123"/>
            <a:ext cx="18639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The conference room will appear in the “Rooms” line</a:t>
            </a:r>
          </a:p>
          <a:p>
            <a:pPr marL="342900" indent="-342900">
              <a:buAutoNum type="arabicPeriod"/>
            </a:pPr>
            <a:r>
              <a:rPr lang="en-US" dirty="0"/>
              <a:t>Press “OK”</a:t>
            </a:r>
          </a:p>
        </p:txBody>
      </p:sp>
      <p:sp>
        <p:nvSpPr>
          <p:cNvPr id="7" name="Right Arrow 6"/>
          <p:cNvSpPr/>
          <p:nvPr/>
        </p:nvSpPr>
        <p:spPr>
          <a:xfrm flipV="1">
            <a:off x="3264144" y="5222219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 rot="16200000" flipV="1">
            <a:off x="7548928" y="5814234"/>
            <a:ext cx="663820" cy="24693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203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298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tep 7:  Review available time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2072484" y="1622425"/>
            <a:ext cx="8047031" cy="45545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5685" y="1688123"/>
            <a:ext cx="17232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. Screen will now show calendars for invitees and conference room</a:t>
            </a:r>
          </a:p>
        </p:txBody>
      </p:sp>
    </p:spTree>
    <p:extLst>
      <p:ext uri="{BB962C8B-B14F-4D97-AF65-F5344CB8AC3E}">
        <p14:creationId xmlns:p14="http://schemas.microsoft.com/office/powerpoint/2010/main" val="4197282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F3&quot; g=&quot;AB&quot; b=&quot;7A&quot;/&gt;&lt;m_nBrightness endver=&quot;26206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q7ePqu9bzUJN_XDYUy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xhJ1VvTYgm8MhxbxV_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4t0gVE_a.RuMvFGjBv3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bg90VFNAbFWgFOYz0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xe2sJJI1u6XaQURwRj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PJsUP7SFT9XTelE7Vj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OrIOHNyd.PG2QKQrCw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I7.mhJyQiGb342by2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pcScZuyGft9Mjhm0cB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4e4sUxYWJjtNt_LoIV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6whyBm.ufmoi3W7NK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hfRxd9_rZhTjhvuEl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vNnqzdqHRKk8qfRZ11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Ot5UlrHWU.iIkxuCO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iK7zcnW_J33bHAIRv8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UKT6M4J_1RkosK1.tf3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qrzvL7bAVU0AcGjfvJ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1udCarrXdQZg.Nx522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82QC8D6BkvQPp_a96s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Q7zzmoQTsjxM57qZor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.kk3sRKyCmj_8Tipad6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moKZ8ZbywsHxj_Rz4m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dFCa0RwWFae0YFhl6z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bIu1T1G18RgQHcJ5R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Qbh76MhBSbX6OJvvO2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TIyxADEDOG5vgsOpQJb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DMwMF8vsngyAlK_VWH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2C7FB05-489E-40CE-94CA-4EFA4477F4A7}" vid="{3941CAB5-22DF-4183-A680-71669BDECD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tes Biomanufacturing Facility PPT</Template>
  <TotalTime>7237</TotalTime>
  <Words>1004</Words>
  <Application>Microsoft Office PowerPoint</Application>
  <PresentationFormat>Widescreen</PresentationFormat>
  <Paragraphs>195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Calibri Light</vt:lpstr>
      <vt:lpstr>Helvetica Neue</vt:lpstr>
      <vt:lpstr>Office Theme</vt:lpstr>
      <vt:lpstr>think-cell Slide</vt:lpstr>
      <vt:lpstr>GBF Conference Room Scheduling </vt:lpstr>
      <vt:lpstr>Agenda</vt:lpstr>
      <vt:lpstr>Step 1: Set up attendees for meeting</vt:lpstr>
      <vt:lpstr>Step 2: Fill out appointment info</vt:lpstr>
      <vt:lpstr>Step 3: Move to adding conference room</vt:lpstr>
      <vt:lpstr>Step 4:  Conference rooms</vt:lpstr>
      <vt:lpstr>Step 5: Locate GBF conference rooms</vt:lpstr>
      <vt:lpstr>Step 6:  Add GBF conference room </vt:lpstr>
      <vt:lpstr>Step 7:  Review available times</vt:lpstr>
      <vt:lpstr>Step 8: Highlight available time</vt:lpstr>
      <vt:lpstr>Step 9: Verify meeting information and schedule meeting with Room </vt:lpstr>
      <vt:lpstr>Step 10: Verify meeting was scheduled</vt:lpstr>
      <vt:lpstr>Scheduling both conference rooms</vt:lpstr>
      <vt:lpstr>Scheduling both conference rooms</vt:lpstr>
      <vt:lpstr>Meeting changes </vt:lpstr>
      <vt:lpstr>Please be aware….</vt:lpstr>
      <vt:lpstr>Scheduling over another meeting in a conference room…..</vt:lpstr>
      <vt:lpstr>Conference room was not scheduled</vt:lpstr>
      <vt:lpstr>Caution:  Conference room invite declined</vt:lpstr>
      <vt:lpstr>Recurring Meetings</vt:lpstr>
      <vt:lpstr>Recurring Meetings</vt:lpstr>
      <vt:lpstr>What if I cannot find an available GBF Conference Room or one that will work for my meeting?</vt:lpstr>
      <vt:lpstr>To the conference room schedule</vt:lpstr>
      <vt:lpstr>To the conference room schedule…</vt:lpstr>
      <vt:lpstr>You will now be able to see the calendar for the conference rooms….</vt:lpstr>
      <vt:lpstr>When can we start scheduling GBF Conference Rooms??</vt:lpstr>
      <vt:lpstr>Questions and further hel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C Protocol Champion – Roles and Responsibilities</dc:title>
  <dc:creator>Garbe, Christopher</dc:creator>
  <cp:lastModifiedBy>Jones, Bryce</cp:lastModifiedBy>
  <cp:revision>165</cp:revision>
  <cp:lastPrinted>2020-01-03T20:45:52Z</cp:lastPrinted>
  <dcterms:created xsi:type="dcterms:W3CDTF">2018-05-09T17:59:06Z</dcterms:created>
  <dcterms:modified xsi:type="dcterms:W3CDTF">2021-11-10T21:43:22Z</dcterms:modified>
</cp:coreProperties>
</file>